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3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7908925" cy="56515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55F"/>
    <a:srgbClr val="073262"/>
    <a:srgbClr val="00AE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546" autoAdjust="0"/>
    <p:restoredTop sz="95884"/>
  </p:normalViewPr>
  <p:slideViewPr>
    <p:cSldViewPr snapToGrid="0">
      <p:cViewPr varScale="1">
        <p:scale>
          <a:sx n="133" d="100"/>
          <a:sy n="133" d="100"/>
        </p:scale>
        <p:origin x="88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405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53216F4-1050-A35B-D779-42C8DD1859A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54F93D-D6A0-58D3-4088-6F3519CAE5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372D43-111B-47D7-BCDC-820493B37EDB}" type="datetimeFigureOut">
              <a:rPr lang="en-IN" smtClean="0"/>
              <a:t>13-03-2025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BBCD3B-60D3-F777-7296-B1A886A4FBE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BED9D5-6066-A266-A327-68401F5740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F6FD38-8190-481B-9B74-6B3701DD93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48947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A21F60-7FC7-46D8-9071-D869CA8C7696}" type="datetimeFigureOut">
              <a:rPr lang="en-US" smtClean="0"/>
              <a:t>3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70000" y="1143000"/>
            <a:ext cx="43180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A81D21-B2D3-41FA-AE8A-7A3419E721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1619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1pPr>
    <a:lvl2pPr marL="534534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2pPr>
    <a:lvl3pPr marL="1069068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3pPr>
    <a:lvl4pPr marL="1603601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4pPr>
    <a:lvl5pPr marL="2138135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5pPr>
    <a:lvl6pPr marL="2672668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6pPr>
    <a:lvl7pPr marL="3207202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7pPr>
    <a:lvl8pPr marL="3741735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8pPr>
    <a:lvl9pPr marL="4276269" algn="l" defTabSz="1069068" rtl="0" eaLnBrk="1" latinLnBrk="0" hangingPunct="1">
      <a:defRPr sz="140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086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building&#10;&#10;AI-generated content may be incorrect.">
            <a:extLst>
              <a:ext uri="{FF2B5EF4-FFF2-40B4-BE49-F238E27FC236}">
                <a16:creationId xmlns:a16="http://schemas.microsoft.com/office/drawing/2014/main" id="{0B43A1F5-F928-08B4-3ECD-A5FD1A37F0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908926" cy="565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90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6E05F93-E9F0-A81E-3CCE-A01AAEF6E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7908926" cy="565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083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0EAFC79-C3FF-8323-436E-7DDFC7577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7367556"/>
              </p:ext>
            </p:extLst>
          </p:nvPr>
        </p:nvGraphicFramePr>
        <p:xfrm>
          <a:off x="1031" y="1309"/>
          <a:ext cx="1030" cy="13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9E275E3-B0B2-9513-0A4D-9EA87D346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031" y="1309"/>
                        <a:ext cx="1030" cy="13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5889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</p:sldLayoutIdLst>
  <p:txStyles>
    <p:titleStyle>
      <a:lvl1pPr algn="l" defTabSz="753557" rtl="0" eaLnBrk="1" latinLnBrk="0" hangingPunct="1">
        <a:lnSpc>
          <a:spcPct val="90000"/>
        </a:lnSpc>
        <a:spcBef>
          <a:spcPct val="0"/>
        </a:spcBef>
        <a:buNone/>
        <a:defRPr sz="362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8389" indent="-188389" algn="l" defTabSz="753557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307" kern="1200">
          <a:solidFill>
            <a:schemeClr val="tx1"/>
          </a:solidFill>
          <a:latin typeface="+mn-lt"/>
          <a:ea typeface="+mn-ea"/>
          <a:cs typeface="+mn-cs"/>
        </a:defRPr>
      </a:lvl1pPr>
      <a:lvl2pPr marL="565168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978" kern="1200">
          <a:solidFill>
            <a:schemeClr val="tx1"/>
          </a:solidFill>
          <a:latin typeface="+mn-lt"/>
          <a:ea typeface="+mn-ea"/>
          <a:cs typeface="+mn-cs"/>
        </a:defRPr>
      </a:lvl2pPr>
      <a:lvl3pPr marL="941946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648" kern="1200">
          <a:solidFill>
            <a:schemeClr val="tx1"/>
          </a:solidFill>
          <a:latin typeface="+mn-lt"/>
          <a:ea typeface="+mn-ea"/>
          <a:cs typeface="+mn-cs"/>
        </a:defRPr>
      </a:lvl3pPr>
      <a:lvl4pPr marL="1318725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483" kern="1200">
          <a:solidFill>
            <a:schemeClr val="tx1"/>
          </a:solidFill>
          <a:latin typeface="+mn-lt"/>
          <a:ea typeface="+mn-ea"/>
          <a:cs typeface="+mn-cs"/>
        </a:defRPr>
      </a:lvl4pPr>
      <a:lvl5pPr marL="1695503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483" kern="1200">
          <a:solidFill>
            <a:schemeClr val="tx1"/>
          </a:solidFill>
          <a:latin typeface="+mn-lt"/>
          <a:ea typeface="+mn-ea"/>
          <a:cs typeface="+mn-cs"/>
        </a:defRPr>
      </a:lvl5pPr>
      <a:lvl6pPr marL="2072282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483" kern="1200">
          <a:solidFill>
            <a:schemeClr val="tx1"/>
          </a:solidFill>
          <a:latin typeface="+mn-lt"/>
          <a:ea typeface="+mn-ea"/>
          <a:cs typeface="+mn-cs"/>
        </a:defRPr>
      </a:lvl6pPr>
      <a:lvl7pPr marL="2449060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483" kern="1200">
          <a:solidFill>
            <a:schemeClr val="tx1"/>
          </a:solidFill>
          <a:latin typeface="+mn-lt"/>
          <a:ea typeface="+mn-ea"/>
          <a:cs typeface="+mn-cs"/>
        </a:defRPr>
      </a:lvl7pPr>
      <a:lvl8pPr marL="2825839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483" kern="1200">
          <a:solidFill>
            <a:schemeClr val="tx1"/>
          </a:solidFill>
          <a:latin typeface="+mn-lt"/>
          <a:ea typeface="+mn-ea"/>
          <a:cs typeface="+mn-cs"/>
        </a:defRPr>
      </a:lvl8pPr>
      <a:lvl9pPr marL="3202617" indent="-188389" algn="l" defTabSz="753557" rtl="0" eaLnBrk="1" latinLnBrk="0" hangingPunct="1">
        <a:lnSpc>
          <a:spcPct val="90000"/>
        </a:lnSpc>
        <a:spcBef>
          <a:spcPts val="412"/>
        </a:spcBef>
        <a:buFont typeface="Arial" panose="020B0604020202020204" pitchFamily="34" charset="0"/>
        <a:buChar char="•"/>
        <a:defRPr sz="14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1pPr>
      <a:lvl2pPr marL="376779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2pPr>
      <a:lvl3pPr marL="753557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3pPr>
      <a:lvl4pPr marL="1130336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4pPr>
      <a:lvl5pPr marL="1507114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5pPr>
      <a:lvl6pPr marL="1883893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6pPr>
      <a:lvl7pPr marL="2260671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7pPr>
      <a:lvl8pPr marL="2637450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8pPr>
      <a:lvl9pPr marL="3014228" algn="l" defTabSz="753557" rtl="0" eaLnBrk="1" latinLnBrk="0" hangingPunct="1">
        <a:defRPr sz="14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phic 15">
            <a:extLst>
              <a:ext uri="{FF2B5EF4-FFF2-40B4-BE49-F238E27FC236}">
                <a16:creationId xmlns:a16="http://schemas.microsoft.com/office/drawing/2014/main" id="{6BF09B79-743C-609B-A155-5F256FD85D27}"/>
              </a:ext>
            </a:extLst>
          </p:cNvPr>
          <p:cNvSpPr/>
          <p:nvPr/>
        </p:nvSpPr>
        <p:spPr>
          <a:xfrm>
            <a:off x="153457" y="150495"/>
            <a:ext cx="7602010" cy="2330373"/>
          </a:xfrm>
          <a:prstGeom prst="roundRect">
            <a:avLst>
              <a:gd name="adj" fmla="val 4208"/>
            </a:avLst>
          </a:pr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IN">
              <a:ln w="6350">
                <a:noFill/>
              </a:ln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877B37-92F7-6FDB-08BD-152B985977A6}"/>
              </a:ext>
            </a:extLst>
          </p:cNvPr>
          <p:cNvSpPr txBox="1"/>
          <p:nvPr/>
        </p:nvSpPr>
        <p:spPr>
          <a:xfrm>
            <a:off x="1989933" y="2744850"/>
            <a:ext cx="162865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Funnel Sans Light" pitchFamily="2" charset="0"/>
              </a:rPr>
              <a:t>This is to certify that</a:t>
            </a:r>
            <a:endParaRPr lang="en-IN" sz="1400" dirty="0">
              <a:solidFill>
                <a:schemeClr val="bg1"/>
              </a:solidFill>
              <a:latin typeface="Funnel Sans Light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00624D-A384-0736-1874-26770FF93D84}"/>
              </a:ext>
            </a:extLst>
          </p:cNvPr>
          <p:cNvSpPr txBox="1"/>
          <p:nvPr/>
        </p:nvSpPr>
        <p:spPr>
          <a:xfrm>
            <a:off x="1989933" y="3193169"/>
            <a:ext cx="357469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800" dirty="0">
                <a:solidFill>
                  <a:schemeClr val="bg1"/>
                </a:solidFill>
                <a:latin typeface="Funnel Sans Medium" pitchFamily="2" charset="0"/>
              </a:rPr>
              <a:t>First Name Last Name</a:t>
            </a:r>
            <a:endParaRPr lang="en-IN" sz="2800" dirty="0">
              <a:solidFill>
                <a:schemeClr val="bg1"/>
              </a:solidFill>
              <a:latin typeface="Funnel Sans Medium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D35680-232B-4BB8-3D8D-14D33A946427}"/>
              </a:ext>
            </a:extLst>
          </p:cNvPr>
          <p:cNvCxnSpPr>
            <a:cxnSpLocks/>
          </p:cNvCxnSpPr>
          <p:nvPr/>
        </p:nvCxnSpPr>
        <p:spPr>
          <a:xfrm>
            <a:off x="1989933" y="3653941"/>
            <a:ext cx="442976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8C390B87-194E-F771-03DD-DEA8E316AF21}"/>
              </a:ext>
            </a:extLst>
          </p:cNvPr>
          <p:cNvSpPr txBox="1"/>
          <p:nvPr/>
        </p:nvSpPr>
        <p:spPr>
          <a:xfrm>
            <a:off x="1989933" y="3866496"/>
            <a:ext cx="446105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Funnel Sans Light" pitchFamily="2" charset="0"/>
              </a:rPr>
              <a:t>has successfully completed the emergence training under the department of [Name] by the organizer</a:t>
            </a:r>
            <a:endParaRPr lang="en-IN" sz="1400" dirty="0">
              <a:solidFill>
                <a:schemeClr val="bg1"/>
              </a:solidFill>
              <a:latin typeface="Funnel Sans Light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023226-C5C4-9D40-CE18-DAA9EF62589B}"/>
              </a:ext>
            </a:extLst>
          </p:cNvPr>
          <p:cNvSpPr txBox="1"/>
          <p:nvPr/>
        </p:nvSpPr>
        <p:spPr>
          <a:xfrm>
            <a:off x="1989933" y="4770022"/>
            <a:ext cx="185066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Funnel Sans Light" pitchFamily="2" charset="0"/>
              </a:rPr>
              <a:t>First name Last name</a:t>
            </a:r>
            <a:endParaRPr lang="en-IN" sz="1400" dirty="0">
              <a:solidFill>
                <a:schemeClr val="bg1"/>
              </a:solidFill>
              <a:latin typeface="Funnel Sans Light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2722524-82BC-BF57-CA3E-49C71C18D042}"/>
              </a:ext>
            </a:extLst>
          </p:cNvPr>
          <p:cNvSpPr txBox="1"/>
          <p:nvPr/>
        </p:nvSpPr>
        <p:spPr>
          <a:xfrm>
            <a:off x="1989933" y="4979203"/>
            <a:ext cx="185066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dirty="0">
                <a:solidFill>
                  <a:schemeClr val="bg1"/>
                </a:solidFill>
                <a:latin typeface="Funnel Sans Light" pitchFamily="2" charset="0"/>
              </a:rPr>
              <a:t>Role, Department</a:t>
            </a:r>
            <a:endParaRPr lang="en-IN" sz="1100" dirty="0">
              <a:solidFill>
                <a:schemeClr val="bg1"/>
              </a:solidFill>
              <a:latin typeface="Funnel Sans Light" pitchFamily="2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B0C2AB-C986-36CD-A811-D45A13355F8D}"/>
              </a:ext>
            </a:extLst>
          </p:cNvPr>
          <p:cNvCxnSpPr>
            <a:cxnSpLocks/>
          </p:cNvCxnSpPr>
          <p:nvPr/>
        </p:nvCxnSpPr>
        <p:spPr>
          <a:xfrm>
            <a:off x="1989933" y="4759162"/>
            <a:ext cx="166339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56F6713-59CC-AA5F-3D66-7C0047BF7E1C}"/>
              </a:ext>
            </a:extLst>
          </p:cNvPr>
          <p:cNvSpPr txBox="1"/>
          <p:nvPr/>
        </p:nvSpPr>
        <p:spPr>
          <a:xfrm>
            <a:off x="4787599" y="4770022"/>
            <a:ext cx="185066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Funnel Sans Light" pitchFamily="2" charset="0"/>
              </a:rPr>
              <a:t>First name Last name</a:t>
            </a:r>
            <a:endParaRPr lang="en-IN" sz="1400" dirty="0">
              <a:solidFill>
                <a:schemeClr val="bg1"/>
              </a:solidFill>
              <a:latin typeface="Funnel Sans Light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C92ED8-311F-87CF-6A3C-895C92ACB5C3}"/>
              </a:ext>
            </a:extLst>
          </p:cNvPr>
          <p:cNvSpPr txBox="1"/>
          <p:nvPr/>
        </p:nvSpPr>
        <p:spPr>
          <a:xfrm>
            <a:off x="4787599" y="4979203"/>
            <a:ext cx="185066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dirty="0">
                <a:solidFill>
                  <a:schemeClr val="bg1"/>
                </a:solidFill>
                <a:latin typeface="Funnel Sans Light" pitchFamily="2" charset="0"/>
              </a:rPr>
              <a:t>Role, Department</a:t>
            </a:r>
            <a:endParaRPr lang="en-IN" sz="1100" dirty="0">
              <a:solidFill>
                <a:schemeClr val="bg1"/>
              </a:solidFill>
              <a:latin typeface="Funnel Sans Light" pitchFamily="2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BFD572E-EBF1-ED84-C2B6-3DF95ACB06E2}"/>
              </a:ext>
            </a:extLst>
          </p:cNvPr>
          <p:cNvCxnSpPr>
            <a:cxnSpLocks/>
          </p:cNvCxnSpPr>
          <p:nvPr/>
        </p:nvCxnSpPr>
        <p:spPr>
          <a:xfrm>
            <a:off x="4787599" y="4759162"/>
            <a:ext cx="1663391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89B55DB-332D-6ACB-2A75-A20A4CA93B57}"/>
              </a:ext>
            </a:extLst>
          </p:cNvPr>
          <p:cNvSpPr txBox="1"/>
          <p:nvPr/>
        </p:nvSpPr>
        <p:spPr>
          <a:xfrm>
            <a:off x="1949293" y="1320092"/>
            <a:ext cx="4905189" cy="9233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6000" spc="-300" dirty="0">
                <a:latin typeface="Funnel Sans Light" pitchFamily="2" charset="0"/>
              </a:rPr>
              <a:t>Congratulations</a:t>
            </a:r>
            <a:endParaRPr lang="en-IN" sz="6000" spc="-300" dirty="0">
              <a:latin typeface="Funnel Sans Light" pitchFamily="2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FA220F0-8462-005C-F9B1-188FD4824F6A}"/>
              </a:ext>
            </a:extLst>
          </p:cNvPr>
          <p:cNvGrpSpPr/>
          <p:nvPr/>
        </p:nvGrpSpPr>
        <p:grpSpPr>
          <a:xfrm>
            <a:off x="2021857" y="418420"/>
            <a:ext cx="3145825" cy="695096"/>
            <a:chOff x="2021857" y="418420"/>
            <a:chExt cx="3145825" cy="695096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443699C0-D6F9-F0B0-E70F-9E6E799A8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021857" y="467342"/>
              <a:ext cx="1362155" cy="597252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0AFEE47-3828-632E-5590-8C3FFDE4B7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3688" y="418420"/>
              <a:ext cx="943994" cy="695096"/>
            </a:xfrm>
            <a:prstGeom prst="rect">
              <a:avLst/>
            </a:prstGeom>
          </p:spPr>
        </p:pic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0933C7A-548C-6112-D8EB-3D54580DBC3D}"/>
                </a:ext>
              </a:extLst>
            </p:cNvPr>
            <p:cNvCxnSpPr>
              <a:cxnSpLocks/>
            </p:cNvCxnSpPr>
            <p:nvPr/>
          </p:nvCxnSpPr>
          <p:spPr>
            <a:xfrm>
              <a:off x="3803850" y="471344"/>
              <a:ext cx="0" cy="589254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ED6840C9-A798-122D-63B3-FB95CB7C1E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1366964" y="1701731"/>
            <a:ext cx="4981967" cy="2248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101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enpact 2025">
      <a:dk1>
        <a:srgbClr val="181C23"/>
      </a:dk1>
      <a:lt1>
        <a:srgbClr val="FFFEFF"/>
      </a:lt1>
      <a:dk2>
        <a:srgbClr val="181C23"/>
      </a:dk2>
      <a:lt2>
        <a:srgbClr val="FEF9F4"/>
      </a:lt2>
      <a:accent1>
        <a:srgbClr val="FE4F59"/>
      </a:accent1>
      <a:accent2>
        <a:srgbClr val="6D706A"/>
      </a:accent2>
      <a:accent3>
        <a:srgbClr val="FFAD27"/>
      </a:accent3>
      <a:accent4>
        <a:srgbClr val="303030"/>
      </a:accent4>
      <a:accent5>
        <a:srgbClr val="494949"/>
      </a:accent5>
      <a:accent6>
        <a:srgbClr val="FFF1DE"/>
      </a:accent6>
      <a:hlink>
        <a:srgbClr val="FE4F59"/>
      </a:hlink>
      <a:folHlink>
        <a:srgbClr val="FFAD27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4491</TotalTime>
  <Words>40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Calibri</vt:lpstr>
      <vt:lpstr>Funnel Sans Light</vt:lpstr>
      <vt:lpstr>Funnel Sans Medium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skeerat Kaur</dc:creator>
  <cp:lastModifiedBy>Kulkarni, Shubhangee</cp:lastModifiedBy>
  <cp:revision>302</cp:revision>
  <dcterms:created xsi:type="dcterms:W3CDTF">2023-07-19T12:36:40Z</dcterms:created>
  <dcterms:modified xsi:type="dcterms:W3CDTF">2025-03-13T11:39:03Z</dcterms:modified>
</cp:coreProperties>
</file>